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sldIdLst>
    <p:sldId id="258" r:id="rId5"/>
    <p:sldId id="257" r:id="rId6"/>
    <p:sldId id="259" r:id="rId7"/>
    <p:sldId id="260" r:id="rId8"/>
  </p:sldIdLst>
  <p:sldSz cx="12192000" cy="6858000"/>
  <p:notesSz cx="6858000" cy="9144000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4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77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58BA2E-0124-47E6-BD40-509276A6493D}" type="datetimeFigureOut">
              <a:rPr lang="ru-RU" smtClean="0"/>
              <a:t>03.07.2025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7AEADC-ECD1-4A6C-8BAF-1D6D20126B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62383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3FBFD-077A-6470-B315-2B7EA36C78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54EB2D-ADD9-4EE8-22D4-16E1C9AAE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58B395-6AD6-D57F-B697-FC9AC7A34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E7917-11E9-4C6F-A109-25A8C6F1519A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513A2D-7DAE-E21D-1646-59AD99DC0A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F0DF79-F5B9-2671-9817-1F87CE328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25509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0C72D-0042-5DA1-89C4-BBE63DEFC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156D32-E14E-B750-27DD-9F71D7A955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DE1B6-D5B1-C487-ED17-F0EA07C57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23DC2-5A96-4C6B-A257-200EABEFDEB4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77CFF6-C214-F552-3745-1B7CB2C9A5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DE17F7-C94C-C217-0320-4CE684D4A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1180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A60E2E6-2926-13B6-AB06-CE89E806F9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2C166F-1A25-F7C8-773D-6755129606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77E9C4-332D-FCA9-D872-6FFB787CE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AE87C-2EB6-4330-9D2C-FCD2E543AAC4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25744B-FD47-221E-88D5-33BF45D5D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20F609-5E7E-FB4E-4DD4-D4AB566CE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4607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2F254-B57E-95DD-8B83-48A688E1D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15FE74-012D-7F99-0CAB-1819743AC5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574AE3-9C6D-268C-E23B-8684E1AFD5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FD2194-5ED0-4221-B0E7-034A2DD5F2C4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02A6C3-0E1B-A2A8-3A39-E38C5ABB0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A1493E-901F-3652-2AFD-53517AFF8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09076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AF03D7-AE90-6C68-15D4-318AB9CB0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F4C06F-52D6-A74E-2D61-036DB971F2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908BFC-F131-E03A-D6E5-BE5E20BD8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5752C-4944-4BBB-B9D0-AD8CFD54390E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6992F-E655-24AF-4C2F-FD640B4233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B75B22-6EF8-E8DA-7FFF-532A2B13C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9453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0E8F1A-C5B4-C912-79CE-C40F8D2FA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F62763-8023-28C1-12DD-CEDDF5FE25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215CFA-B94A-C869-2F84-770653AF4B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97CD58-190B-0827-48B2-0056737EC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47E0D-3BC4-4905-95E9-F9A43270C8FF}" type="datetime1">
              <a:rPr lang="de-DE" smtClean="0"/>
              <a:t>03.07.2025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B10E03-C5FC-6E78-C940-E69C64662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1B49A0-1E13-3446-DA9F-89A3E25F1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62795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331D8-D937-5645-BA71-8792F39EA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5DFABD-2E5A-01F7-10E0-4BF438929C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445F-B33C-732F-2724-27591306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45B0AC-0867-81A8-DBAB-A1A1BB6DCB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A3345A-668A-2562-6366-B8C4BE21C0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243109-7176-5751-9B6E-0439EAEC43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E3927C-60B7-4F43-AE40-1DC81C57883E}" type="datetime1">
              <a:rPr lang="de-DE" smtClean="0"/>
              <a:t>03.07.2025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A414A5F-937A-79DE-CC1E-343F61779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C7E4CAE-26CF-A24E-C074-EDFFB72C7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32517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CA41F-9B83-7018-39DC-D3C5170E8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2CF690-7231-CB5F-9B3A-2E8057C35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FB648A-1BC2-406F-9C3B-8CD03E30B4CE}" type="datetime1">
              <a:rPr lang="de-DE" smtClean="0"/>
              <a:t>03.07.2025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69AC03-868E-F3CA-D79C-D0250AD13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B790C8-9D6D-F8D3-126C-CE088BF00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3680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4F217A-8E5B-0B9F-3776-B1BB6A981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AFCE2-CFBB-46E0-8E2A-421E8AF36532}" type="datetime1">
              <a:rPr lang="de-DE" smtClean="0"/>
              <a:t>03.07.2025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9BE650-237A-D199-1E32-08A50E7B1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469BCE-0204-BB83-C92E-28AEDCE93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1857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18540-8C22-547C-9F91-A4C738B24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92B5AC-A6D8-F475-9A1E-F9BEED2E33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DD1EA3-40B6-2289-01D7-0E4632CB91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2DF7C5-64B1-A4EE-8B89-B827A767B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9869B-594E-47E4-BECB-BE634FD071F0}" type="datetime1">
              <a:rPr lang="de-DE" smtClean="0"/>
              <a:t>03.07.2025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87ABBC-9DC4-C1B7-8A6D-2D4A152CE8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979508-5986-25C0-B385-C8D9BAAC0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8782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BFEB35-BE6F-9E87-3924-4CC72EFF4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3610D8-E7CC-1B39-4AC8-CE53E7DE757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CC8D76-B5B0-929A-207C-E0971A9177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50E56C-C591-9654-36E5-A2DE91711F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A62F7F-E09F-4C63-A310-DFDB8F3FBB9A}" type="datetime1">
              <a:rPr lang="de-DE" smtClean="0"/>
              <a:t>03.07.2025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5F804F-1605-9889-519E-716690301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B31054-221B-7F2D-FE58-3D909F46E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3848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0093E0-8874-AE68-8D41-0D9EBB56A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92D32E-8674-A5F4-C1D8-A6993B8EEF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63595C-04F5-51E1-C168-B0A5CEA7CA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4B3E319-5A53-43DE-B1C3-414CCE55893E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27E026-FCBB-6174-C2A8-21741AC71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D898DE-117F-4F83-BDCE-D1581300D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D31E0AD-3708-46D7-82C7-3533EC80DCFB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343364F-059D-5746-3D3D-FDCA1B26849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7429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>
                    <a:alpha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[confidential]</a:t>
            </a:r>
          </a:p>
        </p:txBody>
      </p:sp>
    </p:spTree>
    <p:extLst>
      <p:ext uri="{BB962C8B-B14F-4D97-AF65-F5344CB8AC3E}">
        <p14:creationId xmlns:p14="http://schemas.microsoft.com/office/powerpoint/2010/main" val="4087053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2FB3A-50EF-42F2-9EAE-7DC93150D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has been don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8BF0E6-E73E-0F9A-E3D8-0097ACD17A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5440" y="1690688"/>
            <a:ext cx="4817415" cy="4351338"/>
          </a:xfrm>
        </p:spPr>
        <p:txBody>
          <a:bodyPr>
            <a:noAutofit/>
          </a:bodyPr>
          <a:lstStyle/>
          <a:p>
            <a:endParaRPr lang="en-US" sz="2200" i="1" dirty="0"/>
          </a:p>
          <a:p>
            <a:endParaRPr lang="ru-RU" sz="22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B7348-12B8-7D91-1031-91622CFB1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FD2194-5ED0-4221-B0E7-034A2DD5F2C4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1F1E31-A6A1-F7D5-E2C9-08919553F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D7298C-8E8C-9A0F-93B1-F4BAF3625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1</a:t>
            </a:fld>
            <a:endParaRPr lang="ru-RU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73C418-8061-2B4C-6C29-688306F886C0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(merged) </a:t>
            </a:r>
            <a:r>
              <a:rPr lang="en-US" sz="2000" dirty="0"/>
              <a:t>Integrated SQL Parser. The SQL parser reads the query in format SELECT A FROM B WHERE C and creates Abstract Syntax Tree (AST), which is just a long string with SQL-native logical operators.</a:t>
            </a:r>
          </a:p>
          <a:p>
            <a:r>
              <a:rPr lang="en-US" sz="20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(branch 28) </a:t>
            </a:r>
            <a:r>
              <a:rPr lang="en-US" sz="2000" dirty="0"/>
              <a:t>Translated the SQL-native logical operators: Implemented </a:t>
            </a:r>
            <a:r>
              <a:rPr lang="en-US" sz="2000" dirty="0" err="1"/>
              <a:t>enum</a:t>
            </a:r>
            <a:r>
              <a:rPr lang="en-US" sz="2000" dirty="0"/>
              <a:t> (list of available “operations”) for logical execution plan, implemented function to automatically translate AST to logical plan</a:t>
            </a:r>
          </a:p>
          <a:p>
            <a:r>
              <a:rPr lang="en-US" sz="20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(branch 28) </a:t>
            </a:r>
            <a:r>
              <a:rPr lang="en-US" sz="2000" dirty="0"/>
              <a:t>Initial code for logical &lt;-&gt; physical translation function. Still on testing and integrating.</a:t>
            </a:r>
          </a:p>
          <a:p>
            <a:pPr marL="0" indent="0">
              <a:buNone/>
            </a:pPr>
            <a:endParaRPr lang="en-US" sz="2000" dirty="0"/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8369981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5A048-D0D7-18A2-F03C-69EECAC3B1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questions / problems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43C9D6-C85C-1DBF-5475-83D215ADEA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1959"/>
            <a:ext cx="1051560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Clarify the execution procedure, because the computing node structure is still not clear to me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Data Owner (Mimoun) has access to the whole sensitive dataset. He parts the shares and sends them to computing nodes 1,2,3. </a:t>
            </a:r>
            <a:r>
              <a:rPr lang="en-US" sz="1600" b="1" dirty="0"/>
              <a:t>On which node does this execution happen?</a:t>
            </a:r>
            <a:endParaRPr lang="en-US" sz="1600" dirty="0"/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Data analyst submits the query. </a:t>
            </a:r>
            <a:r>
              <a:rPr lang="en-US" sz="1600" b="1" dirty="0"/>
              <a:t>On which node does this execution happen?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Computing nodes 1,2,3 receive the query from analyst, compute their results, combine their shares and send the results in pairs (e.g. result(1,2), result(2,3) and result(1,3)) over </a:t>
            </a:r>
            <a:r>
              <a:rPr lang="en-US" sz="1600" dirty="0" err="1"/>
              <a:t>gRPC</a:t>
            </a:r>
            <a:endParaRPr lang="en-US" sz="1600" dirty="0"/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Data analyst reconstructs the query and receives the final result. </a:t>
            </a:r>
          </a:p>
          <a:p>
            <a:r>
              <a:rPr lang="en-US" sz="2000" dirty="0"/>
              <a:t>Right now the </a:t>
            </a:r>
            <a:r>
              <a:rPr lang="en-US" sz="2000" dirty="0" err="1"/>
              <a:t>data_analyst</a:t>
            </a:r>
            <a:r>
              <a:rPr lang="en-US" sz="2000" dirty="0"/>
              <a:t> deployment part is happening on my account </a:t>
            </a:r>
            <a:r>
              <a:rPr lang="en-US" sz="2000" dirty="0" err="1"/>
              <a:t>idarya</a:t>
            </a:r>
            <a:r>
              <a:rPr lang="en-US" sz="2000" dirty="0"/>
              <a:t> on server zs01. How is it going to be in the final version? Do we need to create a FESCA-account for the project?</a:t>
            </a:r>
          </a:p>
          <a:p>
            <a:r>
              <a:rPr lang="en-US" sz="2000" dirty="0"/>
              <a:t>@Mimoun where are the datasets from? @Long do we need to integrate the native code of TPCH dataset generator into our project? (9 CP: Maybe use the TPCH-gen datasets for validation)</a:t>
            </a:r>
            <a:endParaRPr lang="ru-RU" sz="20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1C3F16-8ECE-88D8-2F55-64E721C3C2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FD2194-5ED0-4221-B0E7-034A2DD5F2C4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407CE-4DD4-42A1-5645-79EE34D39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3B56E5-CBC2-B9FA-2859-F33BEDFB9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91555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F618E5-CCAB-7C63-4E94-5377ECBD0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 (on branch 28)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935C81-5689-4213-86AD-3328811E4E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Implement logical &lt;-&gt; physical execution plan translator/orchestrator </a:t>
            </a:r>
            <a:r>
              <a:rPr lang="en-US" sz="20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(next week)</a:t>
            </a:r>
          </a:p>
          <a:p>
            <a:r>
              <a:rPr lang="en-US" sz="2000" dirty="0"/>
              <a:t>Query submission via CLI?, which then is sent to computing nodes using </a:t>
            </a:r>
            <a:r>
              <a:rPr lang="en-US" sz="2000" dirty="0" err="1"/>
              <a:t>gRPC</a:t>
            </a:r>
            <a:endParaRPr lang="en-US" sz="2000" dirty="0"/>
          </a:p>
          <a:p>
            <a:r>
              <a:rPr lang="en-US" sz="2000" dirty="0"/>
              <a:t>Validation idea: right now everything is run with csv, maybe integrate DBMS</a:t>
            </a:r>
          </a:p>
          <a:p>
            <a:pPr lvl="1"/>
            <a:r>
              <a:rPr lang="en-GB" sz="2000" dirty="0"/>
              <a:t>Validator (optional): load same CSVs into Postgres and SELECT ... to get baseline </a:t>
            </a:r>
            <a:r>
              <a:rPr lang="en-GB" sz="2000" dirty="0" err="1"/>
              <a:t>result.Data</a:t>
            </a:r>
            <a:r>
              <a:rPr lang="en-GB" sz="2000" dirty="0"/>
              <a:t> Analyst: run --role=</a:t>
            </a:r>
            <a:r>
              <a:rPr lang="en-GB" sz="2000" dirty="0" err="1"/>
              <a:t>data_analyst</a:t>
            </a:r>
            <a:r>
              <a:rPr lang="en-GB" sz="2000" dirty="0"/>
              <a:t> issues SQL; MPC nodes execute; Analyst reconstructs and </a:t>
            </a:r>
            <a:r>
              <a:rPr lang="en-GB" sz="2000" dirty="0" err="1"/>
              <a:t>prints.Assert</a:t>
            </a:r>
            <a:r>
              <a:rPr lang="en-GB" sz="2000" dirty="0"/>
              <a:t>: compare Analyst’s output vs. Postgres baseline.</a:t>
            </a:r>
            <a:endParaRPr lang="en-US" sz="2000" dirty="0"/>
          </a:p>
          <a:p>
            <a:r>
              <a:rPr lang="en-US" sz="2000" dirty="0"/>
              <a:t>Extend the range of possible queries (right now only SELECT A FROM B WHERE C). Maybe later in the project as 9-CP criteria, as this framework is PoC</a:t>
            </a:r>
          </a:p>
          <a:p>
            <a:endParaRPr lang="en-GB" sz="24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0054F3-CBFA-4149-E7BD-D605AD169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FD2194-5ED0-4221-B0E7-034A2DD5F2C4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EB2A5-2407-9B0E-416A-8DE621FD81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9C5AB9-CB50-D1D5-7A8F-E0710A005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03155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645CA-4377-8D4D-777D-B465F2296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 for Feedback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112A5A-66B9-2396-40DC-45D530210E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324B13-A5A5-DA02-C8CC-E8A8D1775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FD2194-5ED0-4221-B0E7-034A2DD5F2C4}" type="datetime1">
              <a:rPr lang="de-DE" smtClean="0"/>
              <a:t>03.07.2025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19583E-73FC-A76C-D00B-2E9B484E4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/>
              <a:t>FESCA Project Progress - Darya Igonina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A670FE-05E9-F1D1-47B5-7E63E926D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31E0AD-3708-46D7-82C7-3533EC80DCFB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5224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oZwiJpLT1Lu7xlWPTBWnUEAAAAAAADAAAAAAADAAAAAwADAAEA////////BQAAAAMAEAALq0SiKvCC6EO6FJBE8ZOsAAQAAAABAAMAAAACAAMAAAAEAAQAAQD///////8FAAAABAAQAAsGzfVT1LhmTYNGP+u8jKLB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GhnCImktPUu7vGVY9MFadQNEYXRhABsAAAAETGlua2VkU2hhcGVEYXRhAAUAAAAAAAJOYW1lABkAAABMaW5rZWRTaGFwZXNEYXRhUHJvcGVydHkAEFZlcnNpb24AAAAAAAlMYXN0V3JpdGUANk2jz5cBAAAAAQD/////xgDGAAAABV9pZAAQAAAABKtEoirwguhDuhSQRPGTrAADRGF0YQBTAAAACFByZXNlbnRhdGlvblNjYW5uZWRGb3JMaW5rZWRTaGFwZXMAAAJOdW1iZXJGb3JtYXRTZXBhcmF0b3JNb2RlAAoAAABBdXRvbWF0aWMAAAJOYW1lACQAAABMaW5rZWRTaGFwZVByZXNlbnRhdGlvblNldHRpbmdzRGF0YQAQVmVyc2lvbgAAAAAACUxhc3RXcml0ZQDGTaPPlwEAAAACAP////+DAIMAAAAFX2lkABAAAAAEBs31U9S4Zk2DRj/rvIyiwQNEYXRhABsAAAAETGlua2VkU2hhcGVEYXRhAAUAAAAAAAJOYW1lABkAAABMaW5rZWRTaGFwZXNEYXRhUHJvcGVydHkAEFZlcnNpb24AAQAAAAlMYXN0V3JpdGUAtU2jz5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lCwAAAAAAAAAAAAAgAf///////////////wAAAP///////////////wUAAAAD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GgAGTGlua2VkU2hhcGVzRGF0YVByb3BlcnR5XzAEAAAAAAAFAAAAAwAFAAAABAAFAAAAAAAFAAAABAAFAAAAAAAFAAAABAAFAAAAAAAFAAAABAADAAEBAwAAAAMA////////JQAGTGlua2VkU2hhcGVQcmVzZW50YXRpb25TZXR0aW5nc0RhdGFfMAQAAAABAAUAAAAAAAUAAAACAAQABAEDAAAABAD///////8aAAZMaW5rZWRTaGFwZXNEYXRhUHJvcGVydHlfMQQAAAACAAUAAAACAAUAAAABAAUAAAACAP///////wUAAAACAP///////wU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871320756402136"/>
  <p:tag name="EMPOWERCHARTSPROPERTIES_A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2BD7340CD65A40BFE1CDF66BABB87A" ma:contentTypeVersion="3" ma:contentTypeDescription="Create a new document." ma:contentTypeScope="" ma:versionID="4b9fbd6a1e3412c709adf15292556168">
  <xsd:schema xmlns:xsd="http://www.w3.org/2001/XMLSchema" xmlns:xs="http://www.w3.org/2001/XMLSchema" xmlns:p="http://schemas.microsoft.com/office/2006/metadata/properties" xmlns:ns3="7ba7f727-e69c-4f81-a62d-e9b632cfe725" targetNamespace="http://schemas.microsoft.com/office/2006/metadata/properties" ma:root="true" ma:fieldsID="0ce5d4c4baeb5a807f29897854ede1a6" ns3:_="">
    <xsd:import namespace="7ba7f727-e69c-4f81-a62d-e9b632cfe72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a7f727-e69c-4f81-a62d-e9b632cfe7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02E49B-C2EE-4F70-A849-7BBAE8DDDB82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F3C9A4D-50B9-4640-A5EB-5A59E97E4AA8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7ba7f727-e69c-4f81-a62d-e9b632cfe725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C5E3AA0-24F7-44C9-8116-31D81B4F40F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8</Words>
  <Application>Microsoft Office PowerPoint</Application>
  <PresentationFormat>Widescreen</PresentationFormat>
  <Paragraphs>31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ptos</vt:lpstr>
      <vt:lpstr>Aptos Display</vt:lpstr>
      <vt:lpstr>Arial</vt:lpstr>
      <vt:lpstr>Office Theme</vt:lpstr>
      <vt:lpstr>What has been done</vt:lpstr>
      <vt:lpstr>Open questions / problems</vt:lpstr>
      <vt:lpstr>Next steps (on branch 28)</vt:lpstr>
      <vt:lpstr>Place for Feedbac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has been done</dc:title>
  <dc:creator>Darya Igonina</dc:creator>
  <cp:lastModifiedBy>Darya Igonina</cp:lastModifiedBy>
  <cp:revision>4</cp:revision>
  <dcterms:created xsi:type="dcterms:W3CDTF">2025-06-27T11:33:05Z</dcterms:created>
  <dcterms:modified xsi:type="dcterms:W3CDTF">2025-07-03T09:4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2BD7340CD65A40BFE1CDF66BABB87A</vt:lpwstr>
  </property>
  <property fmtid="{D5CDD505-2E9C-101B-9397-08002B2CF9AE}" pid="3" name="MSIP_Label_18096688-517a-4098-8c5c-96839cb46b00_Enabled">
    <vt:lpwstr>true</vt:lpwstr>
  </property>
  <property fmtid="{D5CDD505-2E9C-101B-9397-08002B2CF9AE}" pid="4" name="MSIP_Label_18096688-517a-4098-8c5c-96839cb46b00_SetDate">
    <vt:lpwstr>2025-07-03T09:34:24Z</vt:lpwstr>
  </property>
  <property fmtid="{D5CDD505-2E9C-101B-9397-08002B2CF9AE}" pid="5" name="MSIP_Label_18096688-517a-4098-8c5c-96839cb46b00_Method">
    <vt:lpwstr>Privileged</vt:lpwstr>
  </property>
  <property fmtid="{D5CDD505-2E9C-101B-9397-08002B2CF9AE}" pid="6" name="MSIP_Label_18096688-517a-4098-8c5c-96839cb46b00_Name">
    <vt:lpwstr>18096688-517a-4098-8c5c-96839cb46b00</vt:lpwstr>
  </property>
  <property fmtid="{D5CDD505-2E9C-101B-9397-08002B2CF9AE}" pid="7" name="MSIP_Label_18096688-517a-4098-8c5c-96839cb46b00_SiteId">
    <vt:lpwstr>acf01cd9-ddd4-4522-a2c3-ebcadef31fbb</vt:lpwstr>
  </property>
  <property fmtid="{D5CDD505-2E9C-101B-9397-08002B2CF9AE}" pid="8" name="MSIP_Label_18096688-517a-4098-8c5c-96839cb46b00_ActionId">
    <vt:lpwstr>71661414-78a1-4444-afdd-f813eb59027a</vt:lpwstr>
  </property>
  <property fmtid="{D5CDD505-2E9C-101B-9397-08002B2CF9AE}" pid="9" name="MSIP_Label_18096688-517a-4098-8c5c-96839cb46b00_ContentBits">
    <vt:lpwstr>2</vt:lpwstr>
  </property>
  <property fmtid="{D5CDD505-2E9C-101B-9397-08002B2CF9AE}" pid="10" name="MSIP_Label_18096688-517a-4098-8c5c-96839cb46b00_Tag">
    <vt:lpwstr>10, 0, 1, 1</vt:lpwstr>
  </property>
  <property fmtid="{D5CDD505-2E9C-101B-9397-08002B2CF9AE}" pid="11" name="ClassificationContentMarkingFooterLocations">
    <vt:lpwstr>Office Theme:8</vt:lpwstr>
  </property>
  <property fmtid="{D5CDD505-2E9C-101B-9397-08002B2CF9AE}" pid="12" name="ClassificationContentMarkingFooterText">
    <vt:lpwstr>[confidential]</vt:lpwstr>
  </property>
</Properties>
</file>